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2"/>
  </p:sldMasterIdLst>
  <p:notesMasterIdLst>
    <p:notesMasterId r:id="rId22"/>
  </p:notesMasterIdLst>
  <p:handoutMasterIdLst>
    <p:handoutMasterId r:id="rId23"/>
  </p:handoutMasterIdLst>
  <p:sldIdLst>
    <p:sldId id="256" r:id="rId3"/>
    <p:sldId id="305" r:id="rId4"/>
    <p:sldId id="306" r:id="rId5"/>
    <p:sldId id="307" r:id="rId6"/>
    <p:sldId id="308" r:id="rId7"/>
    <p:sldId id="309" r:id="rId8"/>
    <p:sldId id="261" r:id="rId9"/>
    <p:sldId id="266" r:id="rId10"/>
    <p:sldId id="280" r:id="rId11"/>
    <p:sldId id="285" r:id="rId12"/>
    <p:sldId id="286" r:id="rId13"/>
    <p:sldId id="282" r:id="rId14"/>
    <p:sldId id="287" r:id="rId15"/>
    <p:sldId id="290" r:id="rId16"/>
    <p:sldId id="291" r:id="rId17"/>
    <p:sldId id="292" r:id="rId18"/>
    <p:sldId id="293" r:id="rId19"/>
    <p:sldId id="304" r:id="rId20"/>
    <p:sldId id="295" r:id="rId21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39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>
      <p:cViewPr varScale="1">
        <p:scale>
          <a:sx n="119" d="100"/>
          <a:sy n="119" d="100"/>
        </p:scale>
        <p:origin x="96" y="216"/>
      </p:cViewPr>
      <p:guideLst>
        <p:guide pos="3839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46"/>
    </p:cViewPr>
  </p:sorterViewPr>
  <p:notesViewPr>
    <p:cSldViewPr showGuides="1">
      <p:cViewPr varScale="1">
        <p:scale>
          <a:sx n="63" d="100"/>
          <a:sy n="63" d="100"/>
        </p:scale>
        <p:origin x="1986" y="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FE1F51-00D1-4EA2-B750-1BDC63648138}" type="doc">
      <dgm:prSet loTypeId="urn:microsoft.com/office/officeart/2005/8/layout/arrow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53C45D9-2346-4254-A4BC-01B298F38CA5}">
      <dgm:prSet phldrT="[Text]"/>
      <dgm:spPr/>
      <dgm:t>
        <a:bodyPr/>
        <a:lstStyle/>
        <a:p>
          <a:r>
            <a:rPr lang="en-US" dirty="0" smtClean="0"/>
            <a:t>Drive Leads to You</a:t>
          </a:r>
          <a:endParaRPr lang="en-US" dirty="0"/>
        </a:p>
      </dgm:t>
    </dgm:pt>
    <dgm:pt modelId="{D4E1C448-A19E-4E96-B50E-CE4628E94E9E}" type="parTrans" cxnId="{EE9FC74F-262C-4CA6-B295-986EA8CDE5AF}">
      <dgm:prSet/>
      <dgm:spPr/>
      <dgm:t>
        <a:bodyPr/>
        <a:lstStyle/>
        <a:p>
          <a:endParaRPr lang="en-US"/>
        </a:p>
      </dgm:t>
    </dgm:pt>
    <dgm:pt modelId="{2B12DF47-2D53-45D4-9551-2DB0E699034E}" type="sibTrans" cxnId="{EE9FC74F-262C-4CA6-B295-986EA8CDE5AF}">
      <dgm:prSet/>
      <dgm:spPr/>
      <dgm:t>
        <a:bodyPr/>
        <a:lstStyle/>
        <a:p>
          <a:endParaRPr lang="en-US"/>
        </a:p>
      </dgm:t>
    </dgm:pt>
    <dgm:pt modelId="{6F84F93C-4C96-4095-9F98-0A3FB9B99886}">
      <dgm:prSet phldrT="[Text]"/>
      <dgm:spPr/>
      <dgm:t>
        <a:bodyPr/>
        <a:lstStyle/>
        <a:p>
          <a:r>
            <a:rPr lang="en-US" dirty="0" smtClean="0"/>
            <a:t>Syndicate</a:t>
          </a:r>
          <a:endParaRPr lang="en-US" dirty="0"/>
        </a:p>
      </dgm:t>
    </dgm:pt>
    <dgm:pt modelId="{5E136F3F-4A57-4177-A155-6910677E86A7}" type="parTrans" cxnId="{B1BBBA74-51C9-49C5-8626-34DAF58D1615}">
      <dgm:prSet/>
      <dgm:spPr/>
      <dgm:t>
        <a:bodyPr/>
        <a:lstStyle/>
        <a:p>
          <a:endParaRPr lang="en-US"/>
        </a:p>
      </dgm:t>
    </dgm:pt>
    <dgm:pt modelId="{5EB2A557-79F7-4C96-81BF-D581480222B6}" type="sibTrans" cxnId="{B1BBBA74-51C9-49C5-8626-34DAF58D1615}">
      <dgm:prSet/>
      <dgm:spPr/>
      <dgm:t>
        <a:bodyPr/>
        <a:lstStyle/>
        <a:p>
          <a:endParaRPr lang="en-US"/>
        </a:p>
      </dgm:t>
    </dgm:pt>
    <dgm:pt modelId="{8B7090B6-136E-4554-B335-30F7194BAA52}" type="pres">
      <dgm:prSet presAssocID="{6FFE1F51-00D1-4EA2-B750-1BDC63648138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9023A30-2E64-48A7-A37B-F8715ED4038D}" type="pres">
      <dgm:prSet presAssocID="{6FFE1F51-00D1-4EA2-B750-1BDC63648138}" presName="ribbon" presStyleLbl="node1" presStyleIdx="0" presStyleCnt="1"/>
      <dgm:spPr/>
    </dgm:pt>
    <dgm:pt modelId="{9CBA484C-FD71-450C-BE6F-865971F197E4}" type="pres">
      <dgm:prSet presAssocID="{6FFE1F51-00D1-4EA2-B750-1BDC63648138}" presName="leftArrow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09A7C1-8815-4F53-BB2A-C92E4BBA30B0}" type="pres">
      <dgm:prSet presAssocID="{6FFE1F51-00D1-4EA2-B750-1BDC63648138}" presName="rightArrow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3BF499A-4383-46E5-8B2A-EE1872499294}" type="presOf" srcId="{553C45D9-2346-4254-A4BC-01B298F38CA5}" destId="{9CBA484C-FD71-450C-BE6F-865971F197E4}" srcOrd="0" destOrd="0" presId="urn:microsoft.com/office/officeart/2005/8/layout/arrow6"/>
    <dgm:cxn modelId="{5F65C1F2-74AF-4899-BF80-AA98FFDFB0DB}" type="presOf" srcId="{6F84F93C-4C96-4095-9F98-0A3FB9B99886}" destId="{CC09A7C1-8815-4F53-BB2A-C92E4BBA30B0}" srcOrd="0" destOrd="0" presId="urn:microsoft.com/office/officeart/2005/8/layout/arrow6"/>
    <dgm:cxn modelId="{EE9FC74F-262C-4CA6-B295-986EA8CDE5AF}" srcId="{6FFE1F51-00D1-4EA2-B750-1BDC63648138}" destId="{553C45D9-2346-4254-A4BC-01B298F38CA5}" srcOrd="0" destOrd="0" parTransId="{D4E1C448-A19E-4E96-B50E-CE4628E94E9E}" sibTransId="{2B12DF47-2D53-45D4-9551-2DB0E699034E}"/>
    <dgm:cxn modelId="{BB9376C6-2F94-4E98-9257-46779E2ADE1F}" type="presOf" srcId="{6FFE1F51-00D1-4EA2-B750-1BDC63648138}" destId="{8B7090B6-136E-4554-B335-30F7194BAA52}" srcOrd="0" destOrd="0" presId="urn:microsoft.com/office/officeart/2005/8/layout/arrow6"/>
    <dgm:cxn modelId="{B1BBBA74-51C9-49C5-8626-34DAF58D1615}" srcId="{6FFE1F51-00D1-4EA2-B750-1BDC63648138}" destId="{6F84F93C-4C96-4095-9F98-0A3FB9B99886}" srcOrd="1" destOrd="0" parTransId="{5E136F3F-4A57-4177-A155-6910677E86A7}" sibTransId="{5EB2A557-79F7-4C96-81BF-D581480222B6}"/>
    <dgm:cxn modelId="{FBBFF6A1-180B-42E9-9483-C736DE20BA71}" type="presParOf" srcId="{8B7090B6-136E-4554-B335-30F7194BAA52}" destId="{19023A30-2E64-48A7-A37B-F8715ED4038D}" srcOrd="0" destOrd="0" presId="urn:microsoft.com/office/officeart/2005/8/layout/arrow6"/>
    <dgm:cxn modelId="{CF4DDB3A-2D23-4040-B774-7348A0FDF861}" type="presParOf" srcId="{8B7090B6-136E-4554-B335-30F7194BAA52}" destId="{9CBA484C-FD71-450C-BE6F-865971F197E4}" srcOrd="1" destOrd="0" presId="urn:microsoft.com/office/officeart/2005/8/layout/arrow6"/>
    <dgm:cxn modelId="{EED19EAF-DC8E-4FD8-9743-7A6CB42ED6B2}" type="presParOf" srcId="{8B7090B6-136E-4554-B335-30F7194BAA52}" destId="{CC09A7C1-8815-4F53-BB2A-C92E4BBA30B0}" srcOrd="2" destOrd="0" presId="urn:microsoft.com/office/officeart/2005/8/layout/arrow6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023A30-2E64-48A7-A37B-F8715ED4038D}">
      <dsp:nvSpPr>
        <dsp:cNvPr id="0" name=""/>
        <dsp:cNvSpPr/>
      </dsp:nvSpPr>
      <dsp:spPr>
        <a:xfrm>
          <a:off x="0" y="490277"/>
          <a:ext cx="4543655" cy="1817462"/>
        </a:xfrm>
        <a:prstGeom prst="leftRightRibb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BA484C-FD71-450C-BE6F-865971F197E4}">
      <dsp:nvSpPr>
        <dsp:cNvPr id="0" name=""/>
        <dsp:cNvSpPr/>
      </dsp:nvSpPr>
      <dsp:spPr>
        <a:xfrm>
          <a:off x="545238" y="808332"/>
          <a:ext cx="1499406" cy="89055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5344" rIns="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Drive Leads to You</a:t>
          </a:r>
          <a:endParaRPr lang="en-US" sz="2400" kern="1200" dirty="0"/>
        </a:p>
      </dsp:txBody>
      <dsp:txXfrm>
        <a:off x="545238" y="808332"/>
        <a:ext cx="1499406" cy="890556"/>
      </dsp:txXfrm>
    </dsp:sp>
    <dsp:sp modelId="{CC09A7C1-8815-4F53-BB2A-C92E4BBA30B0}">
      <dsp:nvSpPr>
        <dsp:cNvPr id="0" name=""/>
        <dsp:cNvSpPr/>
      </dsp:nvSpPr>
      <dsp:spPr>
        <a:xfrm>
          <a:off x="2271827" y="1099126"/>
          <a:ext cx="1772025" cy="89055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5344" rIns="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yndicate</a:t>
          </a:r>
          <a:endParaRPr lang="en-US" sz="2400" kern="1200" dirty="0"/>
        </a:p>
      </dsp:txBody>
      <dsp:txXfrm>
        <a:off x="2271827" y="1099126"/>
        <a:ext cx="1772025" cy="8905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6">
  <dgm:title val=""/>
  <dgm:desc val=""/>
  <dgm:catLst>
    <dgm:cat type="relationship" pri="4000"/>
    <dgm:cat type="process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ctr"/>
      <dgm:param type="vertAlign" val="mid"/>
      <dgm:param type="ar" val="2.5"/>
    </dgm:alg>
    <dgm:shape xmlns:r="http://schemas.openxmlformats.org/officeDocument/2006/relationships" r:blip="">
      <dgm:adjLst/>
    </dgm:shape>
    <dgm:presOf/>
    <dgm:constrLst>
      <dgm:constr type="primFontSz" for="des" ptType="node" op="equ"/>
      <dgm:constr type="w" for="ch" forName="ribbon" refType="h" refFor="ch" refForName="ribbon" fact="2.5"/>
      <dgm:constr type="h" for="ch" forName="leftArrowText" refType="h" fact="0.49"/>
      <dgm:constr type="ctrY" for="ch" forName="leftArrowText" refType="ctrY" refFor="ch" refForName="ribbon"/>
      <dgm:constr type="ctrYOff" for="ch" forName="leftArrowText" refType="h" refFor="ch" refForName="ribbon" fact="-0.08"/>
      <dgm:constr type="l" for="ch" forName="leftArrowText" refType="w" refFor="ch" refForName="ribbon" fact="0.12"/>
      <dgm:constr type="r" for="ch" forName="leftArrowText" refType="w" refFor="ch" refForName="ribbon" fact="0.45"/>
      <dgm:constr type="h" for="ch" forName="rightArrowText" refType="h" fact="0.49"/>
      <dgm:constr type="ctrY" for="ch" forName="rightArrowText" refType="ctrY" refFor="ch" refForName="ribbon"/>
      <dgm:constr type="ctrYOff" for="ch" forName="rightArrowText" refType="h" refFor="ch" refForName="ribbon" fact="0.08"/>
      <dgm:constr type="l" for="ch" forName="rightArrowText" refType="w" refFor="ch" refForName="ribbon" fact="0.5"/>
      <dgm:constr type="r" for="ch" forName="rightArrowText" refType="w" refFor="ch" refForName="ribbon" fact="0.89"/>
    </dgm:constrLst>
    <dgm:ruleLst/>
    <dgm:choose name="Name0">
      <dgm:if name="Name1" axis="ch" ptType="node" func="cnt" op="gte" val="1">
        <dgm:layoutNode name="ribbon" styleLbl="node1">
          <dgm:alg type="sp"/>
          <dgm:shape xmlns:r="http://schemas.openxmlformats.org/officeDocument/2006/relationships" type="leftRightRibbon" r:blip="">
            <dgm:adjLst/>
          </dgm:shape>
          <dgm:presOf/>
          <dgm:constrLst/>
          <dgm:ruleLst/>
        </dgm:layoutNode>
        <dgm:layoutNode name="lef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2">
            <dgm:if name="Name3" func="var" arg="dir" op="equ" val="norm">
              <dgm:presOf axis="ch desOrSelf" ptType="node node" st="1 1" cnt="1 0"/>
            </dgm:if>
            <dgm:else name="Name4">
              <dgm:presOf axis="ch desOrSelf" ptType="node node" st="2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  <dgm:layoutNode name="righ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5">
            <dgm:if name="Name6" func="var" arg="dir" op="equ" val="norm">
              <dgm:presOf axis="ch desOrSelf" ptType="node node" st="2 1" cnt="1 0"/>
            </dgm:if>
            <dgm:else name="Name7">
              <dgm:presOf axis="ch desOrSelf" ptType="node node" st="1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</dgm:if>
      <dgm:else name="Name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8CEC3D-96F7-401F-9673-3EE7F75C9C5B}" type="datetimeFigureOut">
              <a:rPr lang="en-US"/>
              <a:t>10/4/2014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8ED8CD-4E4C-49AC-BDC6-2963BA49E54F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4179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32BCF4-D26D-4DAF-9F57-FE1E61FE7935}" type="datetimeFigureOut">
              <a:rPr lang="en-US"/>
              <a:t>10/4/2014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B91549-43BF-425A-AF25-75262019208C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9286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oking up to clouds and blue sky surrounded by glass-walled buildings" title="Slide Design Picture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73625" y="0"/>
            <a:ext cx="73152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8013" y="685801"/>
            <a:ext cx="3962400" cy="4724399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5410200"/>
            <a:ext cx="3962400" cy="762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pPr/>
              <a:t>10/4/2014</a:t>
            </a:fld>
            <a:endParaRPr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4839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629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285412" y="685800"/>
            <a:ext cx="1295401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8012" y="685800"/>
            <a:ext cx="9474253" cy="5486400"/>
          </a:xfrm>
        </p:spPr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005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786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90800"/>
            <a:ext cx="8229599" cy="2819400"/>
          </a:xfrm>
        </p:spPr>
        <p:txBody>
          <a:bodyPr anchor="b">
            <a:normAutofit/>
          </a:bodyPr>
          <a:lstStyle>
            <a:lvl1pPr algn="l">
              <a:defRPr sz="48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6425" y="5410200"/>
            <a:ext cx="8231187" cy="76200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pPr/>
              <a:t>10/4/2014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511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3813" y="685800"/>
            <a:ext cx="50292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1614" y="685800"/>
            <a:ext cx="5029199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701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3664" y="685800"/>
            <a:ext cx="5029200" cy="99060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3664" y="1676400"/>
            <a:ext cx="502920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51613" y="685800"/>
            <a:ext cx="5029200" cy="990600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50025" y="1676400"/>
            <a:ext cx="502920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3096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442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031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4" y="685800"/>
            <a:ext cx="3962400" cy="4724400"/>
          </a:xfrm>
        </p:spPr>
        <p:txBody>
          <a:bodyPr anchor="b">
            <a:noAutofit/>
          </a:bodyPr>
          <a:lstStyle>
            <a:lvl1pPr algn="l">
              <a:defRPr sz="3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5212" y="685800"/>
            <a:ext cx="6704171" cy="54864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013" y="5410200"/>
            <a:ext cx="3962400" cy="762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472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4" y="685800"/>
            <a:ext cx="3962400" cy="4724400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75213" y="685800"/>
            <a:ext cx="6705600" cy="5486400"/>
          </a:xfrm>
          <a:ln w="63500">
            <a:solidFill>
              <a:schemeClr val="bg1"/>
            </a:solidFill>
            <a:miter lim="800000"/>
          </a:ln>
        </p:spPr>
        <p:txBody>
          <a:bodyPr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013" y="5410200"/>
            <a:ext cx="3962400" cy="762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3FC7-9D1A-468B-98DB-D1E8D74418D9}" type="datetimeFigureOut">
              <a:rPr lang="en-US"/>
              <a:t>10/4/2014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31473-23EB-4724-8B59-FE6D21D89FA4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204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05400"/>
            <a:ext cx="10971372" cy="1066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3813" y="685800"/>
            <a:ext cx="10287000" cy="4190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8C8C8C"/>
                </a:solidFill>
              </a:defRPr>
            </a:lvl1pPr>
          </a:lstStyle>
          <a:p>
            <a:fld id="{81C93FC7-9D1A-468B-98DB-D1E8D74418D9}" type="datetimeFigureOut">
              <a:rPr lang="en-US"/>
              <a:pPr/>
              <a:t>10/4/2014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C8C8C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8C8C8C"/>
                </a:solidFill>
              </a:defRPr>
            </a:lvl1pPr>
          </a:lstStyle>
          <a:p>
            <a:fld id="{A3F31473-23EB-4724-8B59-FE6D21D89FA4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928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800"/>
        </a:spcBef>
        <a:buClr>
          <a:schemeClr val="tx1"/>
        </a:buClr>
        <a:buSzPct val="80000"/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15950" indent="-28575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Corbe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96696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80744" indent="-283464" algn="l" defTabSz="914400" rtl="0" eaLnBrk="1" latinLnBrk="0" hangingPunct="1">
        <a:lnSpc>
          <a:spcPct val="90000"/>
        </a:lnSpc>
        <a:spcBef>
          <a:spcPts val="600"/>
        </a:spcBef>
        <a:buFont typeface="Corbe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64792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840" indent="-283464" algn="l" defTabSz="914400" rtl="0" eaLnBrk="1" latinLnBrk="0" hangingPunct="1">
        <a:lnSpc>
          <a:spcPct val="90000"/>
        </a:lnSpc>
        <a:spcBef>
          <a:spcPts val="600"/>
        </a:spcBef>
        <a:buFont typeface="Corbel" pitchFamily="34" charset="0"/>
        <a:buChar char="–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532888" indent="-22860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916936" indent="-283464" algn="l" defTabSz="914400" rtl="0" eaLnBrk="1" latinLnBrk="0" hangingPunct="1">
        <a:lnSpc>
          <a:spcPct val="90000"/>
        </a:lnSpc>
        <a:spcBef>
          <a:spcPts val="600"/>
        </a:spcBef>
        <a:buFont typeface="Corbel" pitchFamily="34" charset="0"/>
        <a:buChar char="–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300984" indent="-22860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diagramDrawing" Target="../diagrams/drawing1.xml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12" Type="http://schemas.openxmlformats.org/officeDocument/2006/relationships/diagramColors" Target="../diagrams/colors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13.png"/><Relationship Id="rId10" Type="http://schemas.openxmlformats.org/officeDocument/2006/relationships/diagramLayout" Target="../diagrams/layout1.xml"/><Relationship Id="rId4" Type="http://schemas.openxmlformats.org/officeDocument/2006/relationships/image" Target="../media/image12.png"/><Relationship Id="rId9" Type="http://schemas.openxmlformats.org/officeDocument/2006/relationships/diagramData" Target="../diagrams/data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jpg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jpg"/><Relationship Id="rId4" Type="http://schemas.openxmlformats.org/officeDocument/2006/relationships/image" Target="../media/image27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jp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Marketing for Real Estate Investing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1412" y="304800"/>
            <a:ext cx="2301565" cy="2009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8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4800" dirty="0" smtClean="0">
                <a:solidFill>
                  <a:srgbClr val="FFFFFF"/>
                </a:solidFill>
              </a:rPr>
              <a:t>Direct Marketing</a:t>
            </a:r>
            <a:endParaRPr lang="en-US" sz="4800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012" y="1981200"/>
            <a:ext cx="6980593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68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4800" dirty="0" smtClean="0">
                <a:solidFill>
                  <a:srgbClr val="FFFFFF"/>
                </a:solidFill>
              </a:rPr>
              <a:t>Direct Marketing</a:t>
            </a:r>
            <a:endParaRPr lang="en-US" sz="4800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17612" y="1447800"/>
            <a:ext cx="8963025" cy="5638800"/>
          </a:xfrm>
          <a:prstGeom prst="rect">
            <a:avLst/>
          </a:prstGeom>
          <a:noFill/>
        </p:spPr>
        <p:txBody>
          <a:bodyPr wrap="square" numCol="2" rtlCol="0">
            <a:noAutofit/>
          </a:bodyPr>
          <a:lstStyle/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effectLst>
                  <a:outerShdw blurRad="38100" dist="50800" dir="2700000" algn="tl">
                    <a:srgbClr val="000000">
                      <a:alpha val="89000"/>
                    </a:srgbClr>
                  </a:outerShdw>
                </a:effectLst>
              </a:rPr>
              <a:t>Look Professional 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effectLst>
                  <a:outerShdw blurRad="38100" dist="50800" dir="2700000" algn="tl">
                    <a:srgbClr val="000000">
                      <a:alpha val="89000"/>
                    </a:srgbClr>
                  </a:outerShdw>
                </a:effectLst>
              </a:rPr>
              <a:t>Use Letter with Envelope or Oversized Postcard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effectLst>
                  <a:outerShdw blurRad="38100" dist="50800" dir="2700000" algn="tl">
                    <a:srgbClr val="000000">
                      <a:alpha val="89000"/>
                    </a:srgbClr>
                  </a:outerShdw>
                </a:effectLst>
              </a:rPr>
              <a:t>Highlight Benefits to Them (It is not about you)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effectLst>
                  <a:outerShdw blurRad="38100" dist="50800" dir="2700000" algn="tl">
                    <a:srgbClr val="000000">
                      <a:alpha val="89000"/>
                    </a:srgbClr>
                  </a:outerShdw>
                </a:effectLst>
              </a:rPr>
              <a:t>Be Yourself and True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effectLst>
                  <a:outerShdw blurRad="38100" dist="50800" dir="2700000" algn="tl">
                    <a:srgbClr val="000000">
                      <a:alpha val="89000"/>
                    </a:srgbClr>
                  </a:outerShdw>
                </a:effectLst>
              </a:rPr>
              <a:t>Offer Something of Value (Money, Assistance)</a:t>
            </a:r>
          </a:p>
          <a:p>
            <a:pPr marL="228600" indent="-2286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800" dirty="0" smtClean="0">
                <a:solidFill>
                  <a:schemeClr val="tx2"/>
                </a:solidFill>
                <a:effectLst>
                  <a:outerShdw blurRad="38100" dist="50800" dir="2700000" algn="tl">
                    <a:srgbClr val="000000">
                      <a:alpha val="89000"/>
                    </a:srgbClr>
                  </a:outerShdw>
                </a:effectLst>
              </a:rPr>
              <a:t>Make Them Open the Envelope (“Trigger” Line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4612" y="2667000"/>
            <a:ext cx="2143125" cy="21336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187864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cial Media </a:t>
            </a:r>
            <a:endParaRPr lang="en-US" sz="3800" dirty="0">
              <a:solidFill>
                <a:srgbClr val="FFFFFF"/>
              </a:solidFill>
            </a:endParaRPr>
          </a:p>
          <a:p>
            <a:pPr lvl="0"/>
            <a:r>
              <a:rPr lang="en-US" sz="3200" dirty="0" smtClean="0">
                <a:solidFill>
                  <a:srgbClr val="FFFFFF"/>
                </a:solidFill>
              </a:rPr>
              <a:t>                                    Which Channels Matter for Real Estate?</a:t>
            </a:r>
            <a:endParaRPr lang="en-US" sz="32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0412" y="2057400"/>
            <a:ext cx="1018120" cy="10181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6898" y="3429000"/>
            <a:ext cx="1018120" cy="10181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9091" y="4876800"/>
            <a:ext cx="1005927" cy="8352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6812" y="2148848"/>
            <a:ext cx="1170533" cy="9266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33018" y="3412958"/>
            <a:ext cx="1018120" cy="1018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9056" y="4768516"/>
            <a:ext cx="1022690" cy="10226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0412" y="2971800"/>
            <a:ext cx="2246286" cy="1652107"/>
          </a:xfrm>
          <a:prstGeom prst="rect">
            <a:avLst/>
          </a:prstGeom>
        </p:spPr>
      </p:pic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506362551"/>
              </p:ext>
            </p:extLst>
          </p:nvPr>
        </p:nvGraphicFramePr>
        <p:xfrm>
          <a:off x="3198811" y="2612184"/>
          <a:ext cx="4543655" cy="2798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19284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ogging </a:t>
            </a:r>
            <a:endParaRPr lang="en-US" sz="3800" dirty="0">
              <a:solidFill>
                <a:srgbClr val="FFFFFF"/>
              </a:solidFill>
            </a:endParaRPr>
          </a:p>
          <a:p>
            <a:pPr lvl="0"/>
            <a:r>
              <a:rPr lang="en-US" sz="3200" dirty="0" smtClean="0">
                <a:solidFill>
                  <a:srgbClr val="FFFFFF"/>
                </a:solidFill>
              </a:rPr>
              <a:t>                                    Start Blogging Today!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7612" y="1600200"/>
            <a:ext cx="8631299" cy="2636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rgbClr val="8DC3C9"/>
              </a:buClr>
              <a:buSzPct val="120000"/>
            </a:pPr>
            <a:r>
              <a:rPr lang="en-US" sz="3600" b="1" dirty="0" smtClean="0"/>
              <a:t>Blogging increases overall visibility &amp; is a chance to give your business some personality</a:t>
            </a:r>
          </a:p>
          <a:p>
            <a:pPr marL="292100" indent="-292100">
              <a:lnSpc>
                <a:spcPct val="90000"/>
              </a:lnSpc>
              <a:spcBef>
                <a:spcPts val="1000"/>
              </a:spcBef>
              <a:buClr>
                <a:srgbClr val="8DC3C9"/>
              </a:buClr>
              <a:buSzPct val="120000"/>
              <a:buFont typeface="Wingdings" pitchFamily="2" charset="2"/>
              <a:buChar char="§"/>
            </a:pPr>
            <a:r>
              <a:rPr lang="en-US" sz="2800" b="1" dirty="0" smtClean="0"/>
              <a:t>Blogs should be located on your website</a:t>
            </a:r>
            <a:r>
              <a:rPr lang="en-US" sz="2800" dirty="0" smtClean="0"/>
              <a:t>. This is because each blog ‘post’ is typically counted as one page on a website and improves the visibility of the website.</a:t>
            </a:r>
          </a:p>
          <a:p>
            <a:pPr marL="292100" indent="-292100">
              <a:lnSpc>
                <a:spcPct val="90000"/>
              </a:lnSpc>
              <a:spcBef>
                <a:spcPts val="1000"/>
              </a:spcBef>
              <a:buClr>
                <a:srgbClr val="8DC3C9"/>
              </a:buClr>
              <a:buSzPct val="120000"/>
              <a:buFont typeface="Wingdings" pitchFamily="2" charset="2"/>
              <a:buChar char="§"/>
            </a:pPr>
            <a:r>
              <a:rPr lang="en-US" sz="2800" b="1" dirty="0" smtClean="0"/>
              <a:t>Use a content management system for blogging </a:t>
            </a:r>
            <a:r>
              <a:rPr lang="en-US" sz="2800" dirty="0" smtClean="0"/>
              <a:t>such as WordPress to keep things organized and easy. This not only saves time, but WordPress is designed for blogging and fast updates.</a:t>
            </a:r>
          </a:p>
        </p:txBody>
      </p:sp>
    </p:spTree>
    <p:extLst>
      <p:ext uri="{BB962C8B-B14F-4D97-AF65-F5344CB8AC3E}">
        <p14:creationId xmlns:p14="http://schemas.microsoft.com/office/powerpoint/2010/main" val="49104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nding Pages </a:t>
            </a:r>
            <a:endParaRPr lang="en-US" sz="3800" dirty="0">
              <a:solidFill>
                <a:srgbClr val="FFFFFF"/>
              </a:solidFill>
            </a:endParaRPr>
          </a:p>
          <a:p>
            <a:pPr lvl="0"/>
            <a:r>
              <a:rPr lang="en-US" sz="3200" dirty="0" smtClean="0">
                <a:solidFill>
                  <a:srgbClr val="FFFFFF"/>
                </a:solidFill>
              </a:rPr>
              <a:t>                                    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4" name="Text Placeholder 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08012" y="1295400"/>
            <a:ext cx="10363200" cy="6946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2575" indent="-282575">
              <a:spcBef>
                <a:spcPts val="600"/>
              </a:spcBef>
              <a:spcAft>
                <a:spcPts val="1200"/>
              </a:spcAft>
              <a:buClr>
                <a:srgbClr val="8DC3C9"/>
              </a:buClr>
              <a:buSzPct val="120000"/>
              <a:defRPr/>
            </a:pPr>
            <a:r>
              <a:rPr lang="en-US" sz="2800" b="1" dirty="0" smtClean="0">
                <a:solidFill>
                  <a:schemeClr val="accent2"/>
                </a:solidFill>
                <a:ea typeface="+mj-ea"/>
                <a:cs typeface="+mj-cs"/>
              </a:rPr>
              <a:t>** Very Important in Building Leads’ Lists (Buyers and Sellers) **</a:t>
            </a:r>
            <a:endParaRPr lang="en-US" sz="2800" dirty="0">
              <a:solidFill>
                <a:schemeClr val="accent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0212" y="1961937"/>
            <a:ext cx="5486400" cy="4725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39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vertising </a:t>
            </a:r>
            <a:endParaRPr lang="en-US" sz="3800" dirty="0">
              <a:solidFill>
                <a:srgbClr val="FFFFFF"/>
              </a:solidFill>
            </a:endParaRPr>
          </a:p>
          <a:p>
            <a:pPr lvl="0"/>
            <a:r>
              <a:rPr lang="en-US" sz="3200" dirty="0" smtClean="0">
                <a:solidFill>
                  <a:srgbClr val="FFFFFF"/>
                </a:solidFill>
              </a:rPr>
              <a:t>                                    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84212" y="1491915"/>
            <a:ext cx="43988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Internet Advertising</a:t>
            </a:r>
            <a:endParaRPr lang="en-US" sz="4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612" y="2488255"/>
            <a:ext cx="2362200" cy="98425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098" y="2488255"/>
            <a:ext cx="1883843" cy="118909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8" name="TextBox 7"/>
          <p:cNvSpPr txBox="1"/>
          <p:nvPr/>
        </p:nvSpPr>
        <p:spPr>
          <a:xfrm>
            <a:off x="3245563" y="4267200"/>
            <a:ext cx="41583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Offline Advertising</a:t>
            </a:r>
            <a:endParaRPr lang="en-US" sz="4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12" y="2488255"/>
            <a:ext cx="1996129" cy="149709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012" y="5257800"/>
            <a:ext cx="2265868" cy="122579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612" y="5257800"/>
            <a:ext cx="2211109" cy="126349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36843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ample of Internet Syndication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531812" y="1981200"/>
            <a:ext cx="8229600" cy="48006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</a:pPr>
            <a:r>
              <a:rPr kumimoji="0" lang="en-US" sz="25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bel" panose="020B0503020204020204" pitchFamily="34" charset="0"/>
              </a:rPr>
              <a:t>WordPress</a:t>
            </a:r>
            <a:r>
              <a:rPr kumimoji="0" 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orbel" panose="020B0503020204020204" pitchFamily="34" charset="0"/>
              </a:rPr>
              <a:t> Site (Blog)</a:t>
            </a:r>
          </a:p>
          <a:p>
            <a:pPr marL="1428750" lvl="2" indent="-514350">
              <a:spcBef>
                <a:spcPts val="580"/>
              </a:spcBef>
              <a:buClr>
                <a:schemeClr val="accent1"/>
              </a:buClr>
              <a:buSzPct val="85000"/>
              <a:buFont typeface="Courier New" pitchFamily="49" charset="0"/>
              <a:buChar char="o"/>
            </a:pPr>
            <a:r>
              <a:rPr lang="en-US" sz="2500" noProof="0" dirty="0" smtClean="0">
                <a:latin typeface="Corbel" panose="020B0503020204020204" pitchFamily="34" charset="0"/>
              </a:rPr>
              <a:t>Posts for content &amp; building brand</a:t>
            </a:r>
          </a:p>
          <a:p>
            <a:pPr marL="1428750" lvl="2" indent="-514350">
              <a:spcBef>
                <a:spcPts val="580"/>
              </a:spcBef>
              <a:buClr>
                <a:schemeClr val="accent1"/>
              </a:buClr>
              <a:buSzPct val="85000"/>
              <a:buFont typeface="Courier New" pitchFamily="49" charset="0"/>
              <a:buChar char="o"/>
            </a:pPr>
            <a:r>
              <a:rPr lang="en-US" sz="2500" dirty="0" smtClean="0">
                <a:latin typeface="Corbel" panose="020B0503020204020204" pitchFamily="34" charset="0"/>
              </a:rPr>
              <a:t>Every property a post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endParaRPr lang="en-US" sz="2500" b="1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rbel" panose="020B0503020204020204" pitchFamily="34" charset="0"/>
            </a:endParaRP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</a:pPr>
            <a:r>
              <a:rPr lang="en-US" sz="25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Video (YouTube) for every property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endParaRPr lang="en-US" sz="2500" b="1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rbel" panose="020B0503020204020204" pitchFamily="34" charset="0"/>
            </a:endParaRP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</a:pPr>
            <a:r>
              <a:rPr lang="en-US" sz="25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Mobile site (</a:t>
            </a:r>
            <a:r>
              <a:rPr lang="en-US" sz="2500" b="1" dirty="0" err="1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DudaMobile</a:t>
            </a:r>
            <a:r>
              <a:rPr lang="en-US" sz="25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 panose="020B0503020204020204" pitchFamily="34" charset="0"/>
              </a:rPr>
              <a:t>) </a:t>
            </a:r>
            <a:endParaRPr lang="en-US" sz="2500" b="1" noProof="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rbel" panose="020B0503020204020204" pitchFamily="34" charset="0"/>
            </a:endParaRPr>
          </a:p>
          <a:p>
            <a:pPr marL="1428750" lvl="2" indent="-514350">
              <a:spcBef>
                <a:spcPts val="580"/>
              </a:spcBef>
              <a:buClr>
                <a:schemeClr val="accent1"/>
              </a:buClr>
              <a:buSzPct val="85000"/>
            </a:pPr>
            <a:endParaRPr kumimoji="0" lang="en-US" sz="2500" b="1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8012" y="3962400"/>
            <a:ext cx="2767890" cy="194087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96658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ll a Property in 3 Weeks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37012" y="1524000"/>
            <a:ext cx="6705600" cy="36933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4 Weeks Marketing Time</a:t>
            </a:r>
          </a:p>
          <a:p>
            <a:endParaRPr lang="en-US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Week 1 – 	Price at $114,900</a:t>
            </a:r>
          </a:p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		Blast to:</a:t>
            </a:r>
          </a:p>
          <a:p>
            <a:pPr lvl="7">
              <a:buFont typeface="Arial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Buyers’ List</a:t>
            </a:r>
          </a:p>
          <a:p>
            <a:pPr lvl="7">
              <a:buFont typeface="Arial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Internet – Blog 			   Syndication</a:t>
            </a:r>
          </a:p>
          <a:p>
            <a:pPr lvl="8"/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	   Forums</a:t>
            </a:r>
          </a:p>
          <a:p>
            <a:pPr lvl="7">
              <a:buFont typeface="Arial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Social Media</a:t>
            </a:r>
          </a:p>
          <a:p>
            <a:r>
              <a:rPr lang="en-US" dirty="0">
                <a:solidFill>
                  <a:prstClr val="black"/>
                </a:solidFill>
              </a:rPr>
              <a:t>	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51412" y="5029200"/>
            <a:ext cx="5791200" cy="120032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Week 2 – 	Drop Price about 5%</a:t>
            </a:r>
          </a:p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		i.e. $109,900</a:t>
            </a:r>
          </a:p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		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561012" y="6096000"/>
            <a:ext cx="5181600" cy="83099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Week 3 – 	Drop Price about 10%</a:t>
            </a:r>
          </a:p>
          <a:p>
            <a:r>
              <a:rPr lang="en-US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		i.e. $99,900		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612" y="1905000"/>
            <a:ext cx="2176186" cy="1796540"/>
          </a:xfrm>
          <a:prstGeom prst="rect">
            <a:avLst/>
          </a:prstGeom>
          <a:effectLst>
            <a:reflection blurRad="6350" stA="50000" endA="300" endPos="90000" dir="5400000" sy="-100000" algn="bl" rotWithShape="0"/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52651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ample of Internet Syndication</a:t>
            </a:r>
            <a:endParaRPr lang="en-US" sz="3200" dirty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4612" y="2209800"/>
            <a:ext cx="524301" cy="29994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1938" y="3180347"/>
            <a:ext cx="2185586" cy="6876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349" y="2097816"/>
            <a:ext cx="2319340" cy="4905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938" y="4550542"/>
            <a:ext cx="2166940" cy="65875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722812" y="3524185"/>
            <a:ext cx="174759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nitor</a:t>
            </a:r>
          </a:p>
          <a:p>
            <a:pPr algn="ctr"/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</a:p>
          <a:p>
            <a:pPr algn="ctr"/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edule</a:t>
            </a:r>
            <a:endParaRPr lang="en-U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5612" y="2724924"/>
            <a:ext cx="2408129" cy="228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70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3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asure Results</a:t>
            </a:r>
            <a:endParaRPr lang="en-US" sz="3200" dirty="0">
              <a:solidFill>
                <a:srgbClr val="FFFFFF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12812" y="1850189"/>
            <a:ext cx="4104566" cy="508000"/>
            <a:chOff x="669989" y="3315501"/>
            <a:chExt cx="4104566" cy="508000"/>
          </a:xfrm>
        </p:grpSpPr>
        <p:sp>
          <p:nvSpPr>
            <p:cNvPr id="10" name="Oval 9"/>
            <p:cNvSpPr/>
            <p:nvPr/>
          </p:nvSpPr>
          <p:spPr>
            <a:xfrm>
              <a:off x="669989" y="3315501"/>
              <a:ext cx="508000" cy="508000"/>
            </a:xfrm>
            <a:prstGeom prst="ellipse">
              <a:avLst/>
            </a:prstGeom>
            <a:solidFill>
              <a:srgbClr val="FAB41E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smtClean="0">
                  <a:solidFill>
                    <a:srgbClr val="000000"/>
                  </a:solidFill>
                </a:rPr>
                <a:t>3</a:t>
              </a:r>
              <a:endParaRPr lang="en-US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25891" y="3338668"/>
              <a:ext cx="354866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get measurable </a:t>
              </a:r>
              <a:r>
                <a:rPr lang="en-US" sz="2400" b="1" dirty="0" smtClean="0">
                  <a:solidFill>
                    <a:srgbClr val="FAB41E"/>
                  </a:solidFill>
                </a:rPr>
                <a:t>RESULTS</a:t>
              </a:r>
              <a:endParaRPr lang="en-US" sz="2400" b="1" dirty="0">
                <a:solidFill>
                  <a:srgbClr val="FAB41E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468714" y="2819400"/>
            <a:ext cx="7919156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ing is about measurable RESPON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s are measurements of actions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9125719" y="3200401"/>
            <a:ext cx="524301" cy="299949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5232" y="3048000"/>
            <a:ext cx="987146" cy="1295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95232" y="4279696"/>
            <a:ext cx="1181919" cy="132672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95232" y="5904391"/>
            <a:ext cx="1099780" cy="7527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8510" y="4460208"/>
            <a:ext cx="3219564" cy="1934457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16099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22412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522412" y="228600"/>
            <a:ext cx="9144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522412" y="304800"/>
            <a:ext cx="9144000" cy="1143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522412" y="38100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arketing for Buyers</a:t>
            </a:r>
            <a:endParaRPr lang="en-US" sz="5400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" name="Picture 9" descr="Success Key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946809" y="1981200"/>
            <a:ext cx="2134582" cy="1981200"/>
          </a:xfrm>
          <a:prstGeom prst="rect">
            <a:avLst/>
          </a:prstGeom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1979612" y="1600201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1.	Cash Buyers are Best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buFont typeface="Courier New" pitchFamily="49" charset="0"/>
              <a:buChar char="o"/>
              <a:defRPr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MLS Search cash sales in the last 6 months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buFont typeface="Courier New" pitchFamily="49" charset="0"/>
              <a:buChar char="o"/>
              <a:defRPr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Auctions</a:t>
            </a:r>
          </a:p>
          <a:p>
            <a:pPr lvl="1"/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	Court Auctions</a:t>
            </a:r>
          </a:p>
          <a:p>
            <a:pPr lvl="1"/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	Private Auctions</a:t>
            </a:r>
          </a:p>
          <a:p>
            <a:pPr lvl="2"/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HudsonandMarshall.com</a:t>
            </a:r>
          </a:p>
          <a:p>
            <a:pPr lvl="2"/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WilliamsandWilliams.com</a:t>
            </a:r>
          </a:p>
          <a:p>
            <a:pPr>
              <a:buFont typeface="Courier New" pitchFamily="49" charset="0"/>
              <a:buChar char="o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     </a:t>
            </a:r>
            <a:r>
              <a:rPr lang="en-US" sz="24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Linkedin</a:t>
            </a:r>
            <a:endParaRPr lang="en-US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lvl="1"/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       Search keyword “Portfolio Manager” “Asset Manager”</a:t>
            </a:r>
          </a:p>
          <a:p>
            <a:pPr lvl="1"/>
            <a:r>
              <a:rPr lang="en-US" sz="2400" dirty="0">
                <a:solidFill>
                  <a:schemeClr val="tx2"/>
                </a:solidFill>
                <a:latin typeface="Calibri" pitchFamily="34" charset="0"/>
              </a:rPr>
              <a:t>       Join local real estate group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4600" dirty="0">
              <a:solidFill>
                <a:schemeClr val="tx2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4600" dirty="0">
              <a:solidFill>
                <a:srgbClr val="002060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32758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22412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522412" y="228600"/>
            <a:ext cx="9144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522412" y="304800"/>
            <a:ext cx="9144000" cy="1143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522412" y="38100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arketing for Buyers</a:t>
            </a:r>
            <a:endParaRPr lang="en-US" sz="5400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" name="Picture 9" descr="Success Key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946809" y="1981200"/>
            <a:ext cx="2134582" cy="1981200"/>
          </a:xfrm>
          <a:prstGeom prst="rect">
            <a:avLst/>
          </a:prstGeom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1979612" y="1600201"/>
            <a:ext cx="8229600" cy="4525963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4600" dirty="0">
              <a:solidFill>
                <a:srgbClr val="002060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4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2.	Website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4600" dirty="0">
                <a:solidFill>
                  <a:schemeClr val="tx2"/>
                </a:solidFill>
                <a:latin typeface="Calibri" pitchFamily="34" charset="0"/>
              </a:rPr>
              <a:t>Offer free report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4600" dirty="0">
                <a:solidFill>
                  <a:schemeClr val="tx2"/>
                </a:solidFill>
                <a:latin typeface="Calibri" pitchFamily="34" charset="0"/>
              </a:rPr>
              <a:t>Optimized for geographical area (Google PPC,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4600" dirty="0">
                <a:solidFill>
                  <a:schemeClr val="tx2"/>
                </a:solidFill>
                <a:latin typeface="Calibri" pitchFamily="34" charset="0"/>
              </a:rPr>
              <a:t>	Google Local, etc)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endParaRPr lang="en-US" sz="4600" dirty="0">
              <a:solidFill>
                <a:srgbClr val="002060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4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3.	Bandit Signs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4600" dirty="0">
                <a:solidFill>
                  <a:schemeClr val="tx2"/>
                </a:solidFill>
                <a:latin typeface="Calibri" pitchFamily="34" charset="0"/>
              </a:rPr>
              <a:t>Strategic Locations and Strategic Times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4600" dirty="0">
                <a:solidFill>
                  <a:schemeClr val="tx2"/>
                </a:solidFill>
                <a:latin typeface="Calibri" pitchFamily="34" charset="0"/>
              </a:rPr>
              <a:t>2 lines only – catchy headline and phone number</a:t>
            </a:r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2515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22412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4350" indent="-514350"/>
            <a:r>
              <a:rPr lang="en-US" b="1" dirty="0"/>
              <a:t>4.	Advertising Online and Offline</a:t>
            </a:r>
          </a:p>
          <a:p>
            <a:pPr marL="514350" indent="-514350"/>
            <a:r>
              <a:rPr lang="en-US" dirty="0"/>
              <a:t>Your website, your phone number</a:t>
            </a:r>
          </a:p>
          <a:p>
            <a:pPr marL="514350" indent="-514350"/>
            <a:r>
              <a:rPr lang="en-US" dirty="0"/>
              <a:t>Craigslist, </a:t>
            </a:r>
            <a:r>
              <a:rPr lang="en-US" dirty="0" err="1"/>
              <a:t>Backpage</a:t>
            </a:r>
            <a:r>
              <a:rPr lang="en-US" dirty="0"/>
              <a:t>, Business Cards, etc.</a:t>
            </a:r>
          </a:p>
          <a:p>
            <a:pPr marL="514350" indent="-514350"/>
            <a:endParaRPr lang="en-US" dirty="0"/>
          </a:p>
          <a:p>
            <a:pPr marL="514350" indent="-514350">
              <a:buAutoNum type="arabicPeriod" startAt="5"/>
            </a:pPr>
            <a:r>
              <a:rPr lang="en-US" b="1" dirty="0"/>
              <a:t>Host Free Seminar</a:t>
            </a:r>
          </a:p>
          <a:p>
            <a:pPr marL="514350" indent="-514350"/>
            <a:r>
              <a:rPr lang="en-US" dirty="0"/>
              <a:t>“How to Buy Property for Long Term with No Money or Credit”</a:t>
            </a:r>
          </a:p>
          <a:p>
            <a:pPr marL="514350" indent="-514350"/>
            <a:r>
              <a:rPr lang="en-US" dirty="0"/>
              <a:t>“How to Find Private Lenders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1522412" y="228600"/>
            <a:ext cx="9144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522412" y="304800"/>
            <a:ext cx="9144000" cy="1143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522412" y="38100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arketing for Buyers</a:t>
            </a:r>
            <a:endParaRPr lang="en-US" sz="5400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" name="Picture 9" descr="Success Key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47013" y="1981200"/>
            <a:ext cx="2234379" cy="2073826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979612" y="1600201"/>
            <a:ext cx="8229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4.	Advertising Online and Offline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Your website, your phone number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Craigslist, </a:t>
            </a:r>
            <a:r>
              <a:rPr lang="en-US" sz="2500" dirty="0" err="1">
                <a:solidFill>
                  <a:schemeClr val="tx2"/>
                </a:solidFill>
                <a:latin typeface="Calibri" pitchFamily="34" charset="0"/>
              </a:rPr>
              <a:t>Backpage</a:t>
            </a: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, Business Cards, etc.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2500" dirty="0">
              <a:solidFill>
                <a:srgbClr val="002060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5.	Social Media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 err="1">
                <a:solidFill>
                  <a:schemeClr val="tx2"/>
                </a:solidFill>
                <a:latin typeface="Calibri" pitchFamily="34" charset="0"/>
              </a:rPr>
              <a:t>Linkedin</a:t>
            </a: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, </a:t>
            </a:r>
            <a:r>
              <a:rPr lang="en-US" sz="2500" dirty="0" err="1">
                <a:solidFill>
                  <a:schemeClr val="tx2"/>
                </a:solidFill>
                <a:latin typeface="Calibri" pitchFamily="34" charset="0"/>
              </a:rPr>
              <a:t>Facebook</a:t>
            </a: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, Twitter, Google+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HootSuite.com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</a:pPr>
            <a:endParaRPr lang="en-US" sz="2500" dirty="0">
              <a:solidFill>
                <a:schemeClr val="tx2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6.	Auctions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	</a:t>
            </a:r>
            <a:r>
              <a:rPr 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Attend auctions and exchange business cards</a:t>
            </a:r>
            <a:r>
              <a:rPr lang="en-US" sz="2600" b="1" dirty="0">
                <a:solidFill>
                  <a:schemeClr val="tx2"/>
                </a:solidFill>
              </a:rPr>
              <a:t>	</a:t>
            </a:r>
            <a:endParaRPr lang="en-U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8875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22412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4350" indent="-514350"/>
            <a:r>
              <a:rPr lang="en-US" b="1" dirty="0"/>
              <a:t>4.	Advertising Online and Offline</a:t>
            </a:r>
          </a:p>
          <a:p>
            <a:pPr marL="514350" indent="-514350"/>
            <a:r>
              <a:rPr lang="en-US" dirty="0"/>
              <a:t>Your website, your phone number</a:t>
            </a:r>
          </a:p>
          <a:p>
            <a:pPr marL="514350" indent="-514350"/>
            <a:r>
              <a:rPr lang="en-US" dirty="0"/>
              <a:t>Craigslist, </a:t>
            </a:r>
            <a:r>
              <a:rPr lang="en-US" dirty="0" err="1"/>
              <a:t>Backpage</a:t>
            </a:r>
            <a:r>
              <a:rPr lang="en-US" dirty="0"/>
              <a:t>, Business Cards, etc.</a:t>
            </a:r>
          </a:p>
          <a:p>
            <a:pPr marL="514350" indent="-514350"/>
            <a:endParaRPr lang="en-US" dirty="0"/>
          </a:p>
          <a:p>
            <a:pPr marL="514350" indent="-514350">
              <a:buAutoNum type="arabicPeriod" startAt="5"/>
            </a:pPr>
            <a:r>
              <a:rPr lang="en-US" b="1" dirty="0"/>
              <a:t>Host Free Seminar</a:t>
            </a:r>
          </a:p>
          <a:p>
            <a:pPr marL="514350" indent="-514350"/>
            <a:r>
              <a:rPr lang="en-US" dirty="0"/>
              <a:t>“How to Buy Property for Long Term with No Money or Credit”</a:t>
            </a:r>
          </a:p>
          <a:p>
            <a:pPr marL="514350" indent="-514350"/>
            <a:r>
              <a:rPr lang="en-US" dirty="0"/>
              <a:t>“How to Find Private Lenders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1522412" y="228600"/>
            <a:ext cx="9144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522412" y="304800"/>
            <a:ext cx="9144000" cy="1143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522412" y="38100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arketing for Sellers</a:t>
            </a:r>
            <a:endParaRPr lang="en-US" sz="5400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979612" y="1905001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buFont typeface="+mj-lt"/>
              <a:buAutoNum type="arabicPeriod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Website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Targeting distressed sellers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Offer free report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Optimized for geographical area (Google </a:t>
            </a:r>
            <a:r>
              <a:rPr lang="en-US" sz="2500" dirty="0" err="1">
                <a:solidFill>
                  <a:schemeClr val="tx2"/>
                </a:solidFill>
                <a:latin typeface="Calibri" pitchFamily="34" charset="0"/>
              </a:rPr>
              <a:t>PPC,Google</a:t>
            </a: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 Local, etc)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AutoNum type="arabicPeriod" startAt="2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Search and Post on Classified Ads Online and Offline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Look for words like “Motivated Seller” or “Must Sell”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Post  your site and phone number</a:t>
            </a:r>
          </a:p>
        </p:txBody>
      </p:sp>
    </p:spTree>
    <p:extLst>
      <p:ext uri="{BB962C8B-B14F-4D97-AF65-F5344CB8AC3E}">
        <p14:creationId xmlns:p14="http://schemas.microsoft.com/office/powerpoint/2010/main" val="33929040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22412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14350" indent="-514350"/>
            <a:r>
              <a:rPr lang="en-US" b="1" dirty="0"/>
              <a:t>4.	Advertising Online and Offline</a:t>
            </a:r>
          </a:p>
          <a:p>
            <a:pPr marL="514350" indent="-514350"/>
            <a:r>
              <a:rPr lang="en-US" dirty="0"/>
              <a:t>Your website, your phone number</a:t>
            </a:r>
          </a:p>
          <a:p>
            <a:pPr marL="514350" indent="-514350"/>
            <a:r>
              <a:rPr lang="en-US" dirty="0"/>
              <a:t>Craigslist, </a:t>
            </a:r>
            <a:r>
              <a:rPr lang="en-US" dirty="0" err="1"/>
              <a:t>Backpage</a:t>
            </a:r>
            <a:r>
              <a:rPr lang="en-US" dirty="0"/>
              <a:t>, Business Cards, etc.</a:t>
            </a:r>
          </a:p>
          <a:p>
            <a:pPr marL="514350" indent="-514350"/>
            <a:endParaRPr lang="en-US" dirty="0"/>
          </a:p>
          <a:p>
            <a:pPr marL="514350" indent="-514350">
              <a:buAutoNum type="arabicPeriod" startAt="5"/>
            </a:pPr>
            <a:r>
              <a:rPr lang="en-US" b="1" dirty="0"/>
              <a:t>Host Free Seminar</a:t>
            </a:r>
          </a:p>
          <a:p>
            <a:pPr marL="514350" indent="-514350"/>
            <a:r>
              <a:rPr lang="en-US" dirty="0"/>
              <a:t>“How to Buy Property for Long Term with No Money or Credit”</a:t>
            </a:r>
          </a:p>
          <a:p>
            <a:pPr marL="514350" indent="-514350"/>
            <a:r>
              <a:rPr lang="en-US" dirty="0"/>
              <a:t>“How to Find Private Lenders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1522412" y="228600"/>
            <a:ext cx="9144000" cy="12954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522412" y="304800"/>
            <a:ext cx="9144000" cy="1143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522412" y="38100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arketing for Sellers</a:t>
            </a:r>
            <a:endParaRPr lang="en-US" sz="5400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979612" y="1600200"/>
            <a:ext cx="8229600" cy="487680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3.	Direct Marketing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	Oversized Postcards (</a:t>
            </a:r>
            <a:r>
              <a:rPr lang="en-US" sz="2500" dirty="0" err="1">
                <a:solidFill>
                  <a:schemeClr val="tx2"/>
                </a:solidFill>
                <a:latin typeface="Calibri" pitchFamily="34" charset="0"/>
              </a:rPr>
              <a:t>Vistaprint</a:t>
            </a: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), </a:t>
            </a:r>
            <a:r>
              <a:rPr lang="en-US" sz="2500" dirty="0" err="1">
                <a:solidFill>
                  <a:schemeClr val="tx2"/>
                </a:solidFill>
                <a:latin typeface="Calibri" pitchFamily="34" charset="0"/>
              </a:rPr>
              <a:t>Preforeclosure</a:t>
            </a: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 letters, etc. (see the Best Direct Marketing Strategy)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2500" dirty="0">
              <a:solidFill>
                <a:schemeClr val="tx2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4.	Bandit Signs</a:t>
            </a:r>
            <a:r>
              <a:rPr lang="en-US" sz="2500" b="1" dirty="0">
                <a:solidFill>
                  <a:srgbClr val="002060"/>
                </a:solidFill>
                <a:latin typeface="Calibri" pitchFamily="34" charset="0"/>
              </a:rPr>
              <a:t>	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Strategic Locations and Strategic Times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2 lines only – catchy headline and phone number</a:t>
            </a: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endParaRPr lang="en-US" sz="2500" dirty="0">
              <a:solidFill>
                <a:schemeClr val="tx2"/>
              </a:solidFill>
              <a:latin typeface="Calibri" pitchFamily="34" charset="0"/>
            </a:endParaRPr>
          </a:p>
          <a:p>
            <a:pPr marL="514350" indent="-514350">
              <a:spcBef>
                <a:spcPts val="580"/>
              </a:spcBef>
              <a:buClr>
                <a:schemeClr val="accent1"/>
              </a:buClr>
              <a:buSzPct val="85000"/>
              <a:defRPr/>
            </a:pPr>
            <a:r>
              <a:rPr lang="en-US" sz="25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5.	Wholesalers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They have sellers</a:t>
            </a:r>
          </a:p>
          <a:p>
            <a:pPr marL="971550" lvl="1" indent="-514350">
              <a:spcBef>
                <a:spcPts val="580"/>
              </a:spcBef>
              <a:buClr>
                <a:schemeClr val="accent1"/>
              </a:buClr>
              <a:buSzPct val="85000"/>
            </a:pPr>
            <a:r>
              <a:rPr lang="en-US" sz="2500" dirty="0">
                <a:solidFill>
                  <a:schemeClr val="tx2"/>
                </a:solidFill>
                <a:latin typeface="Calibri" pitchFamily="34" charset="0"/>
              </a:rPr>
              <a:t>They can find properties</a:t>
            </a:r>
          </a:p>
        </p:txBody>
      </p:sp>
    </p:spTree>
    <p:extLst>
      <p:ext uri="{BB962C8B-B14F-4D97-AF65-F5344CB8AC3E}">
        <p14:creationId xmlns:p14="http://schemas.microsoft.com/office/powerpoint/2010/main" val="4137693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98612" y="2305987"/>
            <a:ext cx="5885306" cy="508000"/>
            <a:chOff x="68471" y="1371629"/>
            <a:chExt cx="5885306" cy="508000"/>
          </a:xfrm>
        </p:grpSpPr>
        <p:sp>
          <p:nvSpPr>
            <p:cNvPr id="8" name="TextBox 7"/>
            <p:cNvSpPr txBox="1"/>
            <p:nvPr/>
          </p:nvSpPr>
          <p:spPr>
            <a:xfrm>
              <a:off x="576471" y="1371629"/>
              <a:ext cx="53773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set marketing </a:t>
              </a:r>
              <a:r>
                <a:rPr lang="en-US" sz="2400" b="1" dirty="0" smtClean="0">
                  <a:solidFill>
                    <a:schemeClr val="accent2"/>
                  </a:solidFill>
                </a:rPr>
                <a:t>GOALS</a:t>
              </a:r>
              <a:r>
                <a:rPr lang="en-US" sz="2400" b="1" dirty="0" smtClean="0">
                  <a:solidFill>
                    <a:srgbClr val="FFFFFF"/>
                  </a:solidFill>
                </a:rPr>
                <a:t> </a:t>
              </a:r>
              <a:r>
                <a:rPr lang="en-US" sz="2400" b="1" dirty="0" smtClean="0"/>
                <a:t>and</a:t>
              </a:r>
              <a:r>
                <a:rPr lang="en-US" sz="2400" b="1" dirty="0" smtClean="0">
                  <a:solidFill>
                    <a:srgbClr val="FFFFFF"/>
                  </a:solidFill>
                </a:rPr>
                <a:t> </a:t>
              </a:r>
              <a:r>
                <a:rPr lang="en-US" sz="2400" b="1" dirty="0" smtClean="0">
                  <a:solidFill>
                    <a:schemeClr val="accent2"/>
                  </a:solidFill>
                </a:rPr>
                <a:t>OBJECTIVES</a:t>
              </a:r>
              <a:endParaRPr lang="en-US" sz="2400" b="1" dirty="0">
                <a:solidFill>
                  <a:schemeClr val="accent2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68471" y="1371629"/>
              <a:ext cx="508000" cy="5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smtClean="0">
                  <a:solidFill>
                    <a:srgbClr val="000000"/>
                  </a:solidFill>
                </a:rPr>
                <a:t>1</a:t>
              </a:r>
              <a:endParaRPr lang="en-US" sz="24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598612" y="3115698"/>
            <a:ext cx="7075572" cy="508000"/>
            <a:chOff x="669989" y="2338674"/>
            <a:chExt cx="7075572" cy="508000"/>
          </a:xfrm>
        </p:grpSpPr>
        <p:sp>
          <p:nvSpPr>
            <p:cNvPr id="12" name="Oval 11"/>
            <p:cNvSpPr/>
            <p:nvPr/>
          </p:nvSpPr>
          <p:spPr>
            <a:xfrm>
              <a:off x="669989" y="2338674"/>
              <a:ext cx="508000" cy="508000"/>
            </a:xfrm>
            <a:prstGeom prst="ellipse">
              <a:avLst/>
            </a:prstGeom>
            <a:solidFill>
              <a:srgbClr val="FAB41E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smtClean="0">
                  <a:solidFill>
                    <a:srgbClr val="000000"/>
                  </a:solidFill>
                </a:rPr>
                <a:t>2</a:t>
              </a:r>
              <a:endParaRPr lang="en-US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225891" y="2385009"/>
              <a:ext cx="651967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run </a:t>
              </a:r>
              <a:r>
                <a:rPr lang="en-US" sz="2400" b="1" dirty="0" smtClean="0">
                  <a:solidFill>
                    <a:srgbClr val="FAB41E"/>
                  </a:solidFill>
                </a:rPr>
                <a:t>CAMPAIGNS</a:t>
              </a:r>
              <a:r>
                <a:rPr lang="en-US" sz="2400" b="1" dirty="0">
                  <a:solidFill>
                    <a:srgbClr val="FFFFFF"/>
                  </a:solidFill>
                </a:rPr>
                <a:t> </a:t>
              </a:r>
              <a:r>
                <a:rPr lang="en-US" sz="2400" b="1" dirty="0" smtClean="0"/>
                <a:t>on the </a:t>
              </a:r>
              <a:r>
                <a:rPr lang="en-US" sz="2400" b="1" dirty="0" smtClean="0">
                  <a:solidFill>
                    <a:srgbClr val="FAB41E"/>
                  </a:solidFill>
                </a:rPr>
                <a:t>CHANNELS </a:t>
              </a:r>
              <a:r>
                <a:rPr lang="en-US" sz="2400" b="1" dirty="0" smtClean="0"/>
                <a:t>that matter</a:t>
              </a:r>
              <a:endParaRPr lang="en-US" sz="2400" b="1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598612" y="3886200"/>
            <a:ext cx="4104566" cy="508000"/>
            <a:chOff x="669989" y="3315501"/>
            <a:chExt cx="4104566" cy="508000"/>
          </a:xfrm>
        </p:grpSpPr>
        <p:sp>
          <p:nvSpPr>
            <p:cNvPr id="19" name="Oval 18"/>
            <p:cNvSpPr/>
            <p:nvPr/>
          </p:nvSpPr>
          <p:spPr>
            <a:xfrm>
              <a:off x="669989" y="3315501"/>
              <a:ext cx="508000" cy="508000"/>
            </a:xfrm>
            <a:prstGeom prst="ellipse">
              <a:avLst/>
            </a:prstGeom>
            <a:solidFill>
              <a:srgbClr val="FAB41E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smtClean="0">
                  <a:solidFill>
                    <a:srgbClr val="000000"/>
                  </a:solidFill>
                </a:rPr>
                <a:t>3</a:t>
              </a:r>
              <a:endParaRPr lang="en-US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225891" y="3338668"/>
              <a:ext cx="354866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get measurable </a:t>
              </a:r>
              <a:r>
                <a:rPr lang="en-US" sz="2400" b="1" dirty="0" smtClean="0">
                  <a:solidFill>
                    <a:srgbClr val="FAB41E"/>
                  </a:solidFill>
                </a:rPr>
                <a:t>RESULTS</a:t>
              </a:r>
              <a:endParaRPr lang="en-US" sz="2400" b="1" dirty="0">
                <a:solidFill>
                  <a:srgbClr val="FAB41E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612" y="3369698"/>
            <a:ext cx="2124075" cy="319191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4800" dirty="0" smtClean="0">
                <a:solidFill>
                  <a:srgbClr val="FFFFFF"/>
                </a:solidFill>
              </a:rPr>
              <a:t>An Agenda </a:t>
            </a:r>
            <a:r>
              <a:rPr lang="en-US" sz="4800" dirty="0">
                <a:solidFill>
                  <a:srgbClr val="FFFFFF"/>
                </a:solidFill>
              </a:rPr>
              <a:t>and </a:t>
            </a:r>
            <a:r>
              <a:rPr lang="en-US" sz="4800" dirty="0" smtClean="0">
                <a:solidFill>
                  <a:srgbClr val="FFFFFF"/>
                </a:solidFill>
              </a:rPr>
              <a:t>Framework </a:t>
            </a:r>
            <a:r>
              <a:rPr lang="en-US" sz="4800" dirty="0">
                <a:solidFill>
                  <a:srgbClr val="FFFFFF"/>
                </a:solidFill>
              </a:rPr>
              <a:t>for M</a:t>
            </a:r>
            <a:r>
              <a:rPr lang="en-US" sz="4800" dirty="0" smtClean="0">
                <a:solidFill>
                  <a:srgbClr val="FFFFFF"/>
                </a:solidFill>
              </a:rPr>
              <a:t>arketing</a:t>
            </a:r>
            <a:endParaRPr lang="en-US" sz="4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63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41412" y="914400"/>
            <a:ext cx="280878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7200" b="1" cap="small">
                <a:solidFill>
                  <a:srgbClr val="FFFFFF"/>
                </a:solidFill>
                <a:effectLst>
                  <a:outerShdw blurRad="50800" dist="63500" dir="3000000" algn="tl">
                    <a:srgbClr val="000000">
                      <a:alpha val="81000"/>
                    </a:srgbClr>
                  </a:outerShdw>
                </a:effectLst>
              </a:defRPr>
            </a:lvl1pPr>
          </a:lstStyle>
          <a:p>
            <a:r>
              <a:rPr lang="en-US" dirty="0"/>
              <a:t>goal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5529" y="381000"/>
            <a:ext cx="26855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ing</a:t>
            </a:r>
            <a:endParaRPr lang="en-US" sz="4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36812" y="3505200"/>
            <a:ext cx="5257786" cy="27853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r">
              <a:spcBef>
                <a:spcPts val="600"/>
              </a:spcBef>
              <a:buFont typeface="Arial" pitchFamily="34" charset="0"/>
              <a:buChar char="•"/>
            </a:pP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ach </a:t>
            </a: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w </a:t>
            </a: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ents</a:t>
            </a:r>
          </a:p>
          <a:p>
            <a:pPr marL="171450" indent="-171450" algn="r">
              <a:spcBef>
                <a:spcPts val="600"/>
              </a:spcBef>
              <a:buFont typeface="Arial" pitchFamily="34" charset="0"/>
              <a:buChar char="•"/>
            </a:pP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ve </a:t>
            </a: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peat </a:t>
            </a: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iness</a:t>
            </a:r>
          </a:p>
          <a:p>
            <a:pPr marL="171450" indent="-171450" algn="r">
              <a:spcBef>
                <a:spcPts val="600"/>
              </a:spcBef>
              <a:buFont typeface="Arial" pitchFamily="34" charset="0"/>
              <a:buChar char="•"/>
            </a:pP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rture </a:t>
            </a: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</a:t>
            </a: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ads</a:t>
            </a:r>
          </a:p>
          <a:p>
            <a:pPr marL="171450" indent="-171450" algn="r">
              <a:spcBef>
                <a:spcPts val="600"/>
              </a:spcBef>
              <a:buFont typeface="Arial" pitchFamily="34" charset="0"/>
              <a:buChar char="•"/>
            </a:pPr>
            <a:r>
              <a:rPr 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fy Prospect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612" y="549442"/>
            <a:ext cx="3442447" cy="22860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grpSp>
        <p:nvGrpSpPr>
          <p:cNvPr id="7" name="Group 6"/>
          <p:cNvGrpSpPr/>
          <p:nvPr/>
        </p:nvGrpSpPr>
        <p:grpSpPr>
          <a:xfrm>
            <a:off x="1722899" y="2394129"/>
            <a:ext cx="5885306" cy="508000"/>
            <a:chOff x="68471" y="1371629"/>
            <a:chExt cx="5885306" cy="508000"/>
          </a:xfrm>
        </p:grpSpPr>
        <p:sp>
          <p:nvSpPr>
            <p:cNvPr id="8" name="TextBox 7"/>
            <p:cNvSpPr txBox="1"/>
            <p:nvPr/>
          </p:nvSpPr>
          <p:spPr>
            <a:xfrm>
              <a:off x="576471" y="1371629"/>
              <a:ext cx="53773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set marketing </a:t>
              </a:r>
              <a:r>
                <a:rPr lang="en-US" sz="2400" b="1" dirty="0" smtClean="0">
                  <a:solidFill>
                    <a:schemeClr val="accent2"/>
                  </a:solidFill>
                </a:rPr>
                <a:t>GOALS</a:t>
              </a:r>
              <a:r>
                <a:rPr lang="en-US" sz="2400" b="1" dirty="0" smtClean="0">
                  <a:solidFill>
                    <a:srgbClr val="FFFFFF"/>
                  </a:solidFill>
                </a:rPr>
                <a:t> </a:t>
              </a:r>
              <a:r>
                <a:rPr lang="en-US" sz="2400" b="1" dirty="0" smtClean="0"/>
                <a:t>and</a:t>
              </a:r>
              <a:r>
                <a:rPr lang="en-US" sz="2400" b="1" dirty="0" smtClean="0">
                  <a:solidFill>
                    <a:srgbClr val="FFFFFF"/>
                  </a:solidFill>
                </a:rPr>
                <a:t> </a:t>
              </a:r>
              <a:r>
                <a:rPr lang="en-US" sz="2400" b="1" dirty="0" smtClean="0">
                  <a:solidFill>
                    <a:schemeClr val="accent2"/>
                  </a:solidFill>
                </a:rPr>
                <a:t>OBJECTIVES</a:t>
              </a:r>
              <a:endParaRPr lang="en-US" sz="2400" b="1" dirty="0">
                <a:solidFill>
                  <a:schemeClr val="accent2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68471" y="1371629"/>
              <a:ext cx="508000" cy="5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smtClean="0">
                  <a:solidFill>
                    <a:srgbClr val="000000"/>
                  </a:solidFill>
                </a:rPr>
                <a:t>1</a:t>
              </a:r>
              <a:endParaRPr lang="en-US" sz="24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449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2"/>
          <p:cNvSpPr txBox="1">
            <a:spLocks/>
          </p:cNvSpPr>
          <p:nvPr/>
        </p:nvSpPr>
        <p:spPr>
          <a:xfrm>
            <a:off x="684212" y="228600"/>
            <a:ext cx="10971372" cy="1066800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4800" dirty="0" smtClean="0">
                <a:solidFill>
                  <a:srgbClr val="FFFFFF"/>
                </a:solidFill>
              </a:rPr>
              <a:t>Types of Campaign</a:t>
            </a:r>
            <a:endParaRPr lang="en-US" sz="4800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793" y="4724400"/>
            <a:ext cx="3256119" cy="190157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4" name="TextBox 3"/>
          <p:cNvSpPr txBox="1"/>
          <p:nvPr/>
        </p:nvSpPr>
        <p:spPr>
          <a:xfrm>
            <a:off x="912812" y="2133600"/>
            <a:ext cx="9602052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3600" dirty="0" smtClean="0"/>
              <a:t>Email – Share Information/Newsletter</a:t>
            </a:r>
          </a:p>
          <a:p>
            <a:pPr marL="342900" indent="-342900">
              <a:buAutoNum type="arabicPeriod"/>
            </a:pPr>
            <a:r>
              <a:rPr lang="en-US" sz="3600" dirty="0" smtClean="0"/>
              <a:t>Social Media – Network and Build Your Network</a:t>
            </a:r>
          </a:p>
          <a:p>
            <a:pPr marL="342900" indent="-342900">
              <a:buAutoNum type="arabicPeriod"/>
            </a:pPr>
            <a:r>
              <a:rPr lang="en-US" sz="3600" dirty="0" smtClean="0"/>
              <a:t>Events Invites and Updates</a:t>
            </a:r>
          </a:p>
          <a:p>
            <a:pPr marL="342900" indent="-342900">
              <a:buAutoNum type="arabicPeriod"/>
            </a:pPr>
            <a:r>
              <a:rPr lang="en-US" sz="3600" dirty="0" smtClean="0"/>
              <a:t>Articles and Updates – Become an Expert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1236" y="1417638"/>
            <a:ext cx="715732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5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GWkNohz0ixlvn3mEKC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nMSMCD2UihgIiFiZ6WLQ"/>
</p:tagLst>
</file>

<file path=ppt/theme/theme1.xml><?xml version="1.0" encoding="utf-8"?>
<a:theme xmlns:a="http://schemas.openxmlformats.org/drawingml/2006/main" name="Marketing 16x9">
  <a:themeElements>
    <a:clrScheme name="Marketing_16x9">
      <a:dk1>
        <a:srgbClr val="404040"/>
      </a:dk1>
      <a:lt1>
        <a:sysClr val="window" lastClr="FFFFFF"/>
      </a:lt1>
      <a:dk2>
        <a:srgbClr val="000000"/>
      </a:dk2>
      <a:lt2>
        <a:srgbClr val="A1C1DE"/>
      </a:lt2>
      <a:accent1>
        <a:srgbClr val="39527B"/>
      </a:accent1>
      <a:accent2>
        <a:srgbClr val="528DC2"/>
      </a:accent2>
      <a:accent3>
        <a:srgbClr val="7EA939"/>
      </a:accent3>
      <a:accent4>
        <a:srgbClr val="30AEAB"/>
      </a:accent4>
      <a:accent5>
        <a:srgbClr val="31A962"/>
      </a:accent5>
      <a:accent6>
        <a:srgbClr val="78648E"/>
      </a:accent6>
      <a:hlink>
        <a:srgbClr val="7EA939"/>
      </a:hlink>
      <a:folHlink>
        <a:srgbClr val="7F7F7F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flip="none" rotWithShape="1">
          <a:gsLst>
            <a:gs pos="0">
              <a:schemeClr val="phClr">
                <a:lumMod val="20000"/>
                <a:lumOff val="80000"/>
              </a:schemeClr>
            </a:gs>
            <a:gs pos="58000">
              <a:schemeClr val="phClr">
                <a:lumMod val="40000"/>
                <a:lumOff val="60000"/>
              </a:schemeClr>
            </a:gs>
            <a:gs pos="100000">
              <a:schemeClr val="phClr"/>
            </a:gs>
          </a:gsLst>
          <a:lin ang="14400000" scaled="0"/>
          <a:tileRect/>
        </a:gradFill>
        <a:gradFill flip="none" rotWithShape="1">
          <a:gsLst>
            <a:gs pos="0">
              <a:schemeClr val="phClr">
                <a:lumMod val="20000"/>
                <a:lumOff val="80000"/>
              </a:schemeClr>
            </a:gs>
            <a:gs pos="58000">
              <a:schemeClr val="phClr">
                <a:lumMod val="40000"/>
                <a:lumOff val="60000"/>
              </a:schemeClr>
            </a:gs>
            <a:gs pos="100000">
              <a:schemeClr val="phClr"/>
            </a:gs>
          </a:gsLst>
          <a:lin ang="17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Marketing_16x9">
      <a:dk1>
        <a:srgbClr val="404040"/>
      </a:dk1>
      <a:lt1>
        <a:sysClr val="window" lastClr="FFFFFF"/>
      </a:lt1>
      <a:dk2>
        <a:srgbClr val="000000"/>
      </a:dk2>
      <a:lt2>
        <a:srgbClr val="A1C1DE"/>
      </a:lt2>
      <a:accent1>
        <a:srgbClr val="39527B"/>
      </a:accent1>
      <a:accent2>
        <a:srgbClr val="528DC2"/>
      </a:accent2>
      <a:accent3>
        <a:srgbClr val="7EA939"/>
      </a:accent3>
      <a:accent4>
        <a:srgbClr val="30AEAB"/>
      </a:accent4>
      <a:accent5>
        <a:srgbClr val="31A962"/>
      </a:accent5>
      <a:accent6>
        <a:srgbClr val="78648E"/>
      </a:accent6>
      <a:hlink>
        <a:srgbClr val="7EA939"/>
      </a:hlink>
      <a:folHlink>
        <a:srgbClr val="7F7F7F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flip="none" rotWithShape="1">
          <a:gsLst>
            <a:gs pos="0">
              <a:schemeClr val="phClr">
                <a:lumMod val="20000"/>
                <a:lumOff val="80000"/>
              </a:schemeClr>
            </a:gs>
            <a:gs pos="58000">
              <a:schemeClr val="phClr">
                <a:lumMod val="40000"/>
                <a:lumOff val="60000"/>
              </a:schemeClr>
            </a:gs>
            <a:gs pos="100000">
              <a:schemeClr val="phClr"/>
            </a:gs>
          </a:gsLst>
          <a:lin ang="14400000" scaled="0"/>
          <a:tileRect/>
        </a:gradFill>
        <a:gradFill flip="none" rotWithShape="1">
          <a:gsLst>
            <a:gs pos="0">
              <a:schemeClr val="phClr">
                <a:lumMod val="20000"/>
                <a:lumOff val="80000"/>
              </a:schemeClr>
            </a:gs>
            <a:gs pos="58000">
              <a:schemeClr val="phClr">
                <a:lumMod val="40000"/>
                <a:lumOff val="60000"/>
              </a:schemeClr>
            </a:gs>
            <a:gs pos="100000">
              <a:schemeClr val="phClr"/>
            </a:gs>
          </a:gsLst>
          <a:lin ang="17400000" scaled="0"/>
          <a:tileRect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arketing_16x9">
      <a:dk1>
        <a:srgbClr val="404040"/>
      </a:dk1>
      <a:lt1>
        <a:sysClr val="window" lastClr="FFFFFF"/>
      </a:lt1>
      <a:dk2>
        <a:srgbClr val="000000"/>
      </a:dk2>
      <a:lt2>
        <a:srgbClr val="A1C1DE"/>
      </a:lt2>
      <a:accent1>
        <a:srgbClr val="39527B"/>
      </a:accent1>
      <a:accent2>
        <a:srgbClr val="528DC2"/>
      </a:accent2>
      <a:accent3>
        <a:srgbClr val="7EA939"/>
      </a:accent3>
      <a:accent4>
        <a:srgbClr val="30AEAB"/>
      </a:accent4>
      <a:accent5>
        <a:srgbClr val="31A962"/>
      </a:accent5>
      <a:accent6>
        <a:srgbClr val="78648E"/>
      </a:accent6>
      <a:hlink>
        <a:srgbClr val="7EA939"/>
      </a:hlink>
      <a:folHlink>
        <a:srgbClr val="7F7F7F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flip="none" rotWithShape="1">
          <a:gsLst>
            <a:gs pos="0">
              <a:schemeClr val="phClr">
                <a:lumMod val="20000"/>
                <a:lumOff val="80000"/>
              </a:schemeClr>
            </a:gs>
            <a:gs pos="58000">
              <a:schemeClr val="phClr">
                <a:lumMod val="40000"/>
                <a:lumOff val="60000"/>
              </a:schemeClr>
            </a:gs>
            <a:gs pos="100000">
              <a:schemeClr val="phClr"/>
            </a:gs>
          </a:gsLst>
          <a:lin ang="14400000" scaled="0"/>
          <a:tileRect/>
        </a:gradFill>
        <a:gradFill flip="none" rotWithShape="1">
          <a:gsLst>
            <a:gs pos="0">
              <a:schemeClr val="phClr">
                <a:lumMod val="20000"/>
                <a:lumOff val="80000"/>
              </a:schemeClr>
            </a:gs>
            <a:gs pos="58000">
              <a:schemeClr val="phClr">
                <a:lumMod val="40000"/>
                <a:lumOff val="60000"/>
              </a:schemeClr>
            </a:gs>
            <a:gs pos="100000">
              <a:schemeClr val="phClr"/>
            </a:gs>
          </a:gsLst>
          <a:lin ang="17400000" scaled="0"/>
          <a:tileRect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FD7DC9D6-C974-4760-AF25-FD6F69EC14D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siness marketing glass cube presentation (widescreen)</Template>
  <TotalTime>0</TotalTime>
  <Words>392</Words>
  <Application>Microsoft Office PowerPoint</Application>
  <PresentationFormat>Custom</PresentationFormat>
  <Paragraphs>151</Paragraphs>
  <Slides>1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Corbel</vt:lpstr>
      <vt:lpstr>Courier New</vt:lpstr>
      <vt:lpstr>Tahoma</vt:lpstr>
      <vt:lpstr>Wingdings</vt:lpstr>
      <vt:lpstr>Wingdings 2</vt:lpstr>
      <vt:lpstr>Marketing 16x9</vt:lpstr>
      <vt:lpstr>Marketing for Real Estate Invest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4-09-09T17:33:45Z</dcterms:created>
  <dcterms:modified xsi:type="dcterms:W3CDTF">2014-10-04T06:31:0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28010849991</vt:lpwstr>
  </property>
</Properties>
</file>